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7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B19985-EC50-353C-62B2-E668ED86E5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9A542A2-5C40-61D0-D69F-5AD9368DA4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A542A2-5C40-61D0-D69F-5AD9368DA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8052D7-8946-B95D-661D-8FB25CE13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387994-A63E-C2C9-13D5-62A2CF44D5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2" name="Rectangle 15">
            <a:extLst>
              <a:ext uri="{FF2B5EF4-FFF2-40B4-BE49-F238E27FC236}">
                <a16:creationId xmlns:a16="http://schemas.microsoft.com/office/drawing/2014/main" id="{4171717A-A8C7-05DD-AF1E-7A1CB074CB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5893" y="3058629"/>
            <a:ext cx="4472663" cy="1411038"/>
          </a:xfrm>
          <a:prstGeom prst="homePlate">
            <a:avLst>
              <a:gd name="adj" fmla="val 16338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</p:spPr>
        <p:txBody>
          <a:bodyPr lIns="475488" rIns="45720" anchor="ctr">
            <a:noAutofit/>
          </a:bodyPr>
          <a:lstStyle/>
          <a:p>
            <a:pPr algn="l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sz="1800" dirty="0">
              <a:solidFill>
                <a:srgbClr val="FFFFFF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Rectangle 15">
            <a:extLst>
              <a:ext uri="{FF2B5EF4-FFF2-40B4-BE49-F238E27FC236}">
                <a16:creationId xmlns:a16="http://schemas.microsoft.com/office/drawing/2014/main" id="{CFF794D9-7BC8-0E7A-516F-CF8691C53310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7402742" y="3058629"/>
            <a:ext cx="4223365" cy="1411038"/>
          </a:xfrm>
          <a:prstGeom prst="homePlate">
            <a:avLst>
              <a:gd name="adj" fmla="val 16338"/>
            </a:avLst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</p:spPr>
        <p:txBody>
          <a:bodyPr lIns="475488" rIns="45720" anchor="ctr">
            <a:noAutofit/>
          </a:bodyPr>
          <a:lstStyle/>
          <a:p>
            <a:pPr algn="l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sz="1800" dirty="0">
              <a:solidFill>
                <a:srgbClr val="FFFFFF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81195E9-6635-9FDA-6302-C099849BCF5D}"/>
              </a:ext>
            </a:extLst>
          </p:cNvPr>
          <p:cNvSpPr txBox="1">
            <a:spLocks/>
          </p:cNvSpPr>
          <p:nvPr/>
        </p:nvSpPr>
        <p:spPr>
          <a:xfrm>
            <a:off x="7987278" y="3225539"/>
            <a:ext cx="3399650" cy="10772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</a:rPr>
              <a:t>This is a sample text. You simply add your own text and description here. This text is fully editable. It can be replaced with your own style. You can change i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F2DEDF-C014-9741-2077-600ACC501A61}"/>
              </a:ext>
            </a:extLst>
          </p:cNvPr>
          <p:cNvSpPr txBox="1">
            <a:spLocks/>
          </p:cNvSpPr>
          <p:nvPr/>
        </p:nvSpPr>
        <p:spPr>
          <a:xfrm>
            <a:off x="742294" y="3333261"/>
            <a:ext cx="3412611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</a:rPr>
              <a:t>This is a sample text. You simply add your own text and description here. This text is fully editable. It can be replaced with your own style. You can change its</a:t>
            </a:r>
          </a:p>
        </p:txBody>
      </p:sp>
      <p:sp>
        <p:nvSpPr>
          <p:cNvPr id="9" name="Freeform 50">
            <a:extLst>
              <a:ext uri="{FF2B5EF4-FFF2-40B4-BE49-F238E27FC236}">
                <a16:creationId xmlns:a16="http://schemas.microsoft.com/office/drawing/2014/main" id="{4D93DCD3-7456-E263-F81C-81DFCCD054CA}"/>
              </a:ext>
            </a:extLst>
          </p:cNvPr>
          <p:cNvSpPr>
            <a:spLocks/>
          </p:cNvSpPr>
          <p:nvPr/>
        </p:nvSpPr>
        <p:spPr bwMode="gray">
          <a:xfrm flipH="1">
            <a:off x="6225340" y="3058629"/>
            <a:ext cx="1671288" cy="1411038"/>
          </a:xfrm>
          <a:custGeom>
            <a:avLst/>
            <a:gdLst>
              <a:gd name="connsiteX0" fmla="*/ 0 w 346191"/>
              <a:gd name="connsiteY0" fmla="*/ 0 h 423264"/>
              <a:gd name="connsiteX1" fmla="*/ 324795 w 346191"/>
              <a:gd name="connsiteY1" fmla="*/ 0 h 423264"/>
              <a:gd name="connsiteX2" fmla="*/ 330750 w 346191"/>
              <a:gd name="connsiteY2" fmla="*/ 135007 h 423264"/>
              <a:gd name="connsiteX3" fmla="*/ 257671 w 346191"/>
              <a:gd name="connsiteY3" fmla="*/ 175130 h 423264"/>
              <a:gd name="connsiteX4" fmla="*/ 337246 w 346191"/>
              <a:gd name="connsiteY4" fmla="*/ 206035 h 423264"/>
              <a:gd name="connsiteX5" fmla="*/ 324795 w 346191"/>
              <a:gd name="connsiteY5" fmla="*/ 331824 h 423264"/>
              <a:gd name="connsiteX6" fmla="*/ 109925 w 346191"/>
              <a:gd name="connsiteY6" fmla="*/ 331587 h 423264"/>
              <a:gd name="connsiteX7" fmla="*/ 102558 w 346191"/>
              <a:gd name="connsiteY7" fmla="*/ 321355 h 423264"/>
              <a:gd name="connsiteX8" fmla="*/ 103824 w 346191"/>
              <a:gd name="connsiteY8" fmla="*/ 0 h 423264"/>
              <a:gd name="connsiteX9" fmla="*/ 0 w 346191"/>
              <a:gd name="connsiteY9" fmla="*/ 0 h 423264"/>
              <a:gd name="connsiteX10" fmla="*/ 59275 w 346191"/>
              <a:gd name="connsiteY10" fmla="*/ 0 h 423264"/>
              <a:gd name="connsiteX11" fmla="*/ 65582 w 346191"/>
              <a:gd name="connsiteY11" fmla="*/ 331696 h 423264"/>
              <a:gd name="connsiteX12" fmla="*/ 89275 w 346191"/>
              <a:gd name="connsiteY12" fmla="*/ 423264 h 423264"/>
              <a:gd name="connsiteX0" fmla="*/ 0 w 346191"/>
              <a:gd name="connsiteY0" fmla="*/ 0 h 423264"/>
              <a:gd name="connsiteX1" fmla="*/ 324795 w 346191"/>
              <a:gd name="connsiteY1" fmla="*/ 0 h 423264"/>
              <a:gd name="connsiteX2" fmla="*/ 330750 w 346191"/>
              <a:gd name="connsiteY2" fmla="*/ 135007 h 423264"/>
              <a:gd name="connsiteX3" fmla="*/ 257671 w 346191"/>
              <a:gd name="connsiteY3" fmla="*/ 175130 h 423264"/>
              <a:gd name="connsiteX4" fmla="*/ 337246 w 346191"/>
              <a:gd name="connsiteY4" fmla="*/ 206035 h 423264"/>
              <a:gd name="connsiteX5" fmla="*/ 324795 w 346191"/>
              <a:gd name="connsiteY5" fmla="*/ 331824 h 423264"/>
              <a:gd name="connsiteX6" fmla="*/ 109925 w 346191"/>
              <a:gd name="connsiteY6" fmla="*/ 331587 h 423264"/>
              <a:gd name="connsiteX7" fmla="*/ 102558 w 346191"/>
              <a:gd name="connsiteY7" fmla="*/ 321355 h 423264"/>
              <a:gd name="connsiteX8" fmla="*/ 103824 w 346191"/>
              <a:gd name="connsiteY8" fmla="*/ 0 h 423264"/>
              <a:gd name="connsiteX9" fmla="*/ 0 w 346191"/>
              <a:gd name="connsiteY9" fmla="*/ 0 h 423264"/>
              <a:gd name="connsiteX10" fmla="*/ 59275 w 346191"/>
              <a:gd name="connsiteY10" fmla="*/ 0 h 423264"/>
              <a:gd name="connsiteX11" fmla="*/ 65582 w 346191"/>
              <a:gd name="connsiteY11" fmla="*/ 331696 h 423264"/>
              <a:gd name="connsiteX12" fmla="*/ 89275 w 346191"/>
              <a:gd name="connsiteY12" fmla="*/ 423264 h 423264"/>
              <a:gd name="connsiteX0" fmla="*/ 0 w 346191"/>
              <a:gd name="connsiteY0" fmla="*/ 0 h 423264"/>
              <a:gd name="connsiteX1" fmla="*/ 324795 w 346191"/>
              <a:gd name="connsiteY1" fmla="*/ 0 h 423264"/>
              <a:gd name="connsiteX2" fmla="*/ 330750 w 346191"/>
              <a:gd name="connsiteY2" fmla="*/ 135007 h 423264"/>
              <a:gd name="connsiteX3" fmla="*/ 257671 w 346191"/>
              <a:gd name="connsiteY3" fmla="*/ 175130 h 423264"/>
              <a:gd name="connsiteX4" fmla="*/ 337246 w 346191"/>
              <a:gd name="connsiteY4" fmla="*/ 206035 h 423264"/>
              <a:gd name="connsiteX5" fmla="*/ 324795 w 346191"/>
              <a:gd name="connsiteY5" fmla="*/ 331824 h 423264"/>
              <a:gd name="connsiteX6" fmla="*/ 109925 w 346191"/>
              <a:gd name="connsiteY6" fmla="*/ 331587 h 423264"/>
              <a:gd name="connsiteX7" fmla="*/ 102558 w 346191"/>
              <a:gd name="connsiteY7" fmla="*/ 321355 h 423264"/>
              <a:gd name="connsiteX8" fmla="*/ 103824 w 346191"/>
              <a:gd name="connsiteY8" fmla="*/ 0 h 423264"/>
              <a:gd name="connsiteX9" fmla="*/ 0 w 346191"/>
              <a:gd name="connsiteY9" fmla="*/ 0 h 423264"/>
              <a:gd name="connsiteX10" fmla="*/ 65582 w 346191"/>
              <a:gd name="connsiteY10" fmla="*/ 331696 h 423264"/>
              <a:gd name="connsiteX11" fmla="*/ 89275 w 346191"/>
              <a:gd name="connsiteY11" fmla="*/ 423264 h 423264"/>
              <a:gd name="connsiteX0" fmla="*/ 44452 w 286819"/>
              <a:gd name="connsiteY0" fmla="*/ 0 h 423264"/>
              <a:gd name="connsiteX1" fmla="*/ 265423 w 286819"/>
              <a:gd name="connsiteY1" fmla="*/ 0 h 423264"/>
              <a:gd name="connsiteX2" fmla="*/ 271378 w 286819"/>
              <a:gd name="connsiteY2" fmla="*/ 135007 h 423264"/>
              <a:gd name="connsiteX3" fmla="*/ 198299 w 286819"/>
              <a:gd name="connsiteY3" fmla="*/ 175130 h 423264"/>
              <a:gd name="connsiteX4" fmla="*/ 277874 w 286819"/>
              <a:gd name="connsiteY4" fmla="*/ 206035 h 423264"/>
              <a:gd name="connsiteX5" fmla="*/ 265423 w 286819"/>
              <a:gd name="connsiteY5" fmla="*/ 331824 h 423264"/>
              <a:gd name="connsiteX6" fmla="*/ 50553 w 286819"/>
              <a:gd name="connsiteY6" fmla="*/ 331587 h 423264"/>
              <a:gd name="connsiteX7" fmla="*/ 43186 w 286819"/>
              <a:gd name="connsiteY7" fmla="*/ 321355 h 423264"/>
              <a:gd name="connsiteX8" fmla="*/ 44452 w 286819"/>
              <a:gd name="connsiteY8" fmla="*/ 0 h 423264"/>
              <a:gd name="connsiteX9" fmla="*/ 6210 w 286819"/>
              <a:gd name="connsiteY9" fmla="*/ 331696 h 423264"/>
              <a:gd name="connsiteX10" fmla="*/ 29903 w 286819"/>
              <a:gd name="connsiteY10" fmla="*/ 423264 h 423264"/>
              <a:gd name="connsiteX0" fmla="*/ 44298 w 286665"/>
              <a:gd name="connsiteY0" fmla="*/ 0 h 331824"/>
              <a:gd name="connsiteX1" fmla="*/ 265269 w 286665"/>
              <a:gd name="connsiteY1" fmla="*/ 0 h 331824"/>
              <a:gd name="connsiteX2" fmla="*/ 271224 w 286665"/>
              <a:gd name="connsiteY2" fmla="*/ 135007 h 331824"/>
              <a:gd name="connsiteX3" fmla="*/ 198145 w 286665"/>
              <a:gd name="connsiteY3" fmla="*/ 175130 h 331824"/>
              <a:gd name="connsiteX4" fmla="*/ 277720 w 286665"/>
              <a:gd name="connsiteY4" fmla="*/ 206035 h 331824"/>
              <a:gd name="connsiteX5" fmla="*/ 265269 w 286665"/>
              <a:gd name="connsiteY5" fmla="*/ 331824 h 331824"/>
              <a:gd name="connsiteX6" fmla="*/ 50399 w 286665"/>
              <a:gd name="connsiteY6" fmla="*/ 331587 h 331824"/>
              <a:gd name="connsiteX7" fmla="*/ 43032 w 286665"/>
              <a:gd name="connsiteY7" fmla="*/ 321355 h 331824"/>
              <a:gd name="connsiteX8" fmla="*/ 44298 w 286665"/>
              <a:gd name="connsiteY8" fmla="*/ 0 h 331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665" h="331824">
                <a:moveTo>
                  <a:pt x="44298" y="0"/>
                </a:moveTo>
                <a:lnTo>
                  <a:pt x="265269" y="0"/>
                </a:lnTo>
                <a:cubicBezTo>
                  <a:pt x="270682" y="39038"/>
                  <a:pt x="288005" y="125247"/>
                  <a:pt x="271224" y="135007"/>
                </a:cubicBezTo>
                <a:cubicBezTo>
                  <a:pt x="257691" y="143140"/>
                  <a:pt x="200310" y="84583"/>
                  <a:pt x="198145" y="175130"/>
                </a:cubicBezTo>
                <a:cubicBezTo>
                  <a:pt x="195980" y="265676"/>
                  <a:pt x="261480" y="195733"/>
                  <a:pt x="277720" y="206035"/>
                </a:cubicBezTo>
                <a:cubicBezTo>
                  <a:pt x="299914" y="220132"/>
                  <a:pt x="275013" y="287364"/>
                  <a:pt x="265269" y="331824"/>
                </a:cubicBezTo>
                <a:cubicBezTo>
                  <a:pt x="226389" y="331103"/>
                  <a:pt x="134121" y="331341"/>
                  <a:pt x="50399" y="331587"/>
                </a:cubicBezTo>
                <a:lnTo>
                  <a:pt x="43032" y="321355"/>
                </a:lnTo>
                <a:cubicBezTo>
                  <a:pt x="-16564" y="218132"/>
                  <a:pt x="-12482" y="95619"/>
                  <a:pt x="44298" y="0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" name="Freeform 51">
            <a:extLst>
              <a:ext uri="{FF2B5EF4-FFF2-40B4-BE49-F238E27FC236}">
                <a16:creationId xmlns:a16="http://schemas.microsoft.com/office/drawing/2014/main" id="{0F95E4ED-031A-C855-6473-0384F3D18B3E}"/>
              </a:ext>
            </a:extLst>
          </p:cNvPr>
          <p:cNvSpPr>
            <a:spLocks/>
          </p:cNvSpPr>
          <p:nvPr/>
        </p:nvSpPr>
        <p:spPr bwMode="gray">
          <a:xfrm flipH="1">
            <a:off x="4295373" y="3058629"/>
            <a:ext cx="1954826" cy="1411038"/>
          </a:xfrm>
          <a:custGeom>
            <a:avLst/>
            <a:gdLst>
              <a:gd name="connsiteX0" fmla="*/ 331704 w 398474"/>
              <a:gd name="connsiteY0" fmla="*/ 0 h 331824"/>
              <a:gd name="connsiteX1" fmla="*/ 398474 w 398474"/>
              <a:gd name="connsiteY1" fmla="*/ 330740 h 331824"/>
              <a:gd name="connsiteX2" fmla="*/ 332785 w 398474"/>
              <a:gd name="connsiteY2" fmla="*/ 330756 h 331824"/>
              <a:gd name="connsiteX3" fmla="*/ 331704 w 398474"/>
              <a:gd name="connsiteY3" fmla="*/ 0 h 331824"/>
              <a:gd name="connsiteX4" fmla="*/ 68217 w 398474"/>
              <a:gd name="connsiteY4" fmla="*/ 0 h 331824"/>
              <a:gd name="connsiteX5" fmla="*/ 288755 w 398474"/>
              <a:gd name="connsiteY5" fmla="*/ 0 h 331824"/>
              <a:gd name="connsiteX6" fmla="*/ 292271 w 398474"/>
              <a:gd name="connsiteY6" fmla="*/ 4883 h 331824"/>
              <a:gd name="connsiteX7" fmla="*/ 288202 w 398474"/>
              <a:gd name="connsiteY7" fmla="*/ 330809 h 331824"/>
              <a:gd name="connsiteX8" fmla="*/ 67134 w 398474"/>
              <a:gd name="connsiteY8" fmla="*/ 331824 h 331824"/>
              <a:gd name="connsiteX9" fmla="*/ 82835 w 398474"/>
              <a:gd name="connsiteY9" fmla="*/ 209830 h 331824"/>
              <a:gd name="connsiteX10" fmla="*/ 0 w 398474"/>
              <a:gd name="connsiteY10" fmla="*/ 174587 h 331824"/>
              <a:gd name="connsiteX11" fmla="*/ 75797 w 398474"/>
              <a:gd name="connsiteY11" fmla="*/ 130127 h 331824"/>
              <a:gd name="connsiteX12" fmla="*/ 68217 w 398474"/>
              <a:gd name="connsiteY12" fmla="*/ 0 h 331824"/>
              <a:gd name="connsiteX0" fmla="*/ 332785 w 398474"/>
              <a:gd name="connsiteY0" fmla="*/ 330756 h 331824"/>
              <a:gd name="connsiteX1" fmla="*/ 398474 w 398474"/>
              <a:gd name="connsiteY1" fmla="*/ 330740 h 331824"/>
              <a:gd name="connsiteX2" fmla="*/ 332785 w 398474"/>
              <a:gd name="connsiteY2" fmla="*/ 330756 h 331824"/>
              <a:gd name="connsiteX3" fmla="*/ 68217 w 398474"/>
              <a:gd name="connsiteY3" fmla="*/ 0 h 331824"/>
              <a:gd name="connsiteX4" fmla="*/ 288755 w 398474"/>
              <a:gd name="connsiteY4" fmla="*/ 0 h 331824"/>
              <a:gd name="connsiteX5" fmla="*/ 292271 w 398474"/>
              <a:gd name="connsiteY5" fmla="*/ 4883 h 331824"/>
              <a:gd name="connsiteX6" fmla="*/ 288202 w 398474"/>
              <a:gd name="connsiteY6" fmla="*/ 330809 h 331824"/>
              <a:gd name="connsiteX7" fmla="*/ 67134 w 398474"/>
              <a:gd name="connsiteY7" fmla="*/ 331824 h 331824"/>
              <a:gd name="connsiteX8" fmla="*/ 82835 w 398474"/>
              <a:gd name="connsiteY8" fmla="*/ 209830 h 331824"/>
              <a:gd name="connsiteX9" fmla="*/ 0 w 398474"/>
              <a:gd name="connsiteY9" fmla="*/ 174587 h 331824"/>
              <a:gd name="connsiteX10" fmla="*/ 75797 w 398474"/>
              <a:gd name="connsiteY10" fmla="*/ 130127 h 331824"/>
              <a:gd name="connsiteX11" fmla="*/ 68217 w 398474"/>
              <a:gd name="connsiteY11" fmla="*/ 0 h 331824"/>
              <a:gd name="connsiteX0" fmla="*/ 68217 w 335300"/>
              <a:gd name="connsiteY0" fmla="*/ 0 h 331824"/>
              <a:gd name="connsiteX1" fmla="*/ 288755 w 335300"/>
              <a:gd name="connsiteY1" fmla="*/ 0 h 331824"/>
              <a:gd name="connsiteX2" fmla="*/ 292271 w 335300"/>
              <a:gd name="connsiteY2" fmla="*/ 4883 h 331824"/>
              <a:gd name="connsiteX3" fmla="*/ 288202 w 335300"/>
              <a:gd name="connsiteY3" fmla="*/ 330809 h 331824"/>
              <a:gd name="connsiteX4" fmla="*/ 67134 w 335300"/>
              <a:gd name="connsiteY4" fmla="*/ 331824 h 331824"/>
              <a:gd name="connsiteX5" fmla="*/ 82835 w 335300"/>
              <a:gd name="connsiteY5" fmla="*/ 209830 h 331824"/>
              <a:gd name="connsiteX6" fmla="*/ 0 w 335300"/>
              <a:gd name="connsiteY6" fmla="*/ 174587 h 331824"/>
              <a:gd name="connsiteX7" fmla="*/ 75797 w 335300"/>
              <a:gd name="connsiteY7" fmla="*/ 130127 h 331824"/>
              <a:gd name="connsiteX8" fmla="*/ 68217 w 335300"/>
              <a:gd name="connsiteY8" fmla="*/ 0 h 331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300" h="331824">
                <a:moveTo>
                  <a:pt x="68217" y="0"/>
                </a:moveTo>
                <a:lnTo>
                  <a:pt x="288755" y="0"/>
                </a:lnTo>
                <a:lnTo>
                  <a:pt x="292271" y="4883"/>
                </a:lnTo>
                <a:cubicBezTo>
                  <a:pt x="352828" y="109772"/>
                  <a:pt x="347637" y="234578"/>
                  <a:pt x="288202" y="330809"/>
                </a:cubicBezTo>
                <a:lnTo>
                  <a:pt x="67134" y="331824"/>
                </a:lnTo>
                <a:cubicBezTo>
                  <a:pt x="74714" y="297124"/>
                  <a:pt x="94746" y="236398"/>
                  <a:pt x="82835" y="209830"/>
                </a:cubicBezTo>
                <a:cubicBezTo>
                  <a:pt x="70383" y="183262"/>
                  <a:pt x="0" y="273267"/>
                  <a:pt x="0" y="174587"/>
                </a:cubicBezTo>
                <a:cubicBezTo>
                  <a:pt x="0" y="75907"/>
                  <a:pt x="64427" y="156695"/>
                  <a:pt x="75797" y="130127"/>
                </a:cubicBezTo>
                <a:cubicBezTo>
                  <a:pt x="87166" y="104102"/>
                  <a:pt x="71466" y="52051"/>
                  <a:pt x="68217" y="0"/>
                </a:cubicBezTo>
                <a:close/>
              </a:path>
            </a:pathLst>
          </a:custGeom>
          <a:solidFill>
            <a:srgbClr val="B9CDE5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1" name="Rectangle 15">
            <a:extLst>
              <a:ext uri="{FF2B5EF4-FFF2-40B4-BE49-F238E27FC236}">
                <a16:creationId xmlns:a16="http://schemas.microsoft.com/office/drawing/2014/main" id="{E23F20E6-6885-7838-2E28-21E86FC7B451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7402742" y="1509895"/>
            <a:ext cx="4223365" cy="1411038"/>
          </a:xfrm>
          <a:prstGeom prst="homePlate">
            <a:avLst>
              <a:gd name="adj" fmla="val 16338"/>
            </a:avLst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</p:spPr>
        <p:txBody>
          <a:bodyPr lIns="475488" rIns="45720" anchor="ctr">
            <a:noAutofit/>
          </a:bodyPr>
          <a:lstStyle/>
          <a:p>
            <a:pPr algn="l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sz="1800" dirty="0">
              <a:solidFill>
                <a:srgbClr val="FFFFFF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D551B354-8DF6-8736-AEB6-97A41A1B186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5894" y="1509895"/>
            <a:ext cx="4437712" cy="1411038"/>
          </a:xfrm>
          <a:prstGeom prst="homePlate">
            <a:avLst>
              <a:gd name="adj" fmla="val 16338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</p:spPr>
        <p:txBody>
          <a:bodyPr lIns="475488" rIns="45720" anchor="ctr">
            <a:noAutofit/>
          </a:bodyPr>
          <a:lstStyle/>
          <a:p>
            <a:pPr algn="l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sz="1800" dirty="0">
              <a:solidFill>
                <a:srgbClr val="FFFFFF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938796-7778-0EF3-1C16-FDF1EC27C1E9}"/>
              </a:ext>
            </a:extLst>
          </p:cNvPr>
          <p:cNvSpPr txBox="1">
            <a:spLocks/>
          </p:cNvSpPr>
          <p:nvPr/>
        </p:nvSpPr>
        <p:spPr>
          <a:xfrm>
            <a:off x="7979391" y="1676805"/>
            <a:ext cx="3399650" cy="10772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</a:rPr>
              <a:t>This is a sample text. You simply add your own text and description here. This text is fully editable. It can be replaced with your own style. You can change i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C56B59A-4CCC-DA35-C9E2-DC2C7192FE41}"/>
              </a:ext>
            </a:extLst>
          </p:cNvPr>
          <p:cNvSpPr txBox="1">
            <a:spLocks/>
          </p:cNvSpPr>
          <p:nvPr/>
        </p:nvSpPr>
        <p:spPr>
          <a:xfrm>
            <a:off x="742294" y="1784527"/>
            <a:ext cx="3412611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 algn="r" defTabSz="914400">
              <a:defRPr/>
            </a:pPr>
            <a:r>
              <a:rPr lang="en-US" sz="1400" b="1" kern="0" dirty="0">
                <a:solidFill>
                  <a:schemeClr val="bg1"/>
                </a:solidFill>
                <a:cs typeface="Arial" panose="020B0604020202020204" pitchFamily="34" charset="0"/>
              </a:rPr>
              <a:t>This is a sample text. You simply add your own text and description here. This text is fully editable. It can be replaced with your own style. You can change it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5" name="Freeform 50">
            <a:extLst>
              <a:ext uri="{FF2B5EF4-FFF2-40B4-BE49-F238E27FC236}">
                <a16:creationId xmlns:a16="http://schemas.microsoft.com/office/drawing/2014/main" id="{DC1E0D62-6DC2-C2D2-6522-569B6ECD5692}"/>
              </a:ext>
            </a:extLst>
          </p:cNvPr>
          <p:cNvSpPr>
            <a:spLocks/>
          </p:cNvSpPr>
          <p:nvPr/>
        </p:nvSpPr>
        <p:spPr bwMode="gray">
          <a:xfrm>
            <a:off x="4295373" y="1509895"/>
            <a:ext cx="1671288" cy="1411038"/>
          </a:xfrm>
          <a:custGeom>
            <a:avLst/>
            <a:gdLst>
              <a:gd name="connsiteX0" fmla="*/ 0 w 346191"/>
              <a:gd name="connsiteY0" fmla="*/ 0 h 423264"/>
              <a:gd name="connsiteX1" fmla="*/ 324795 w 346191"/>
              <a:gd name="connsiteY1" fmla="*/ 0 h 423264"/>
              <a:gd name="connsiteX2" fmla="*/ 330750 w 346191"/>
              <a:gd name="connsiteY2" fmla="*/ 135007 h 423264"/>
              <a:gd name="connsiteX3" fmla="*/ 257671 w 346191"/>
              <a:gd name="connsiteY3" fmla="*/ 175130 h 423264"/>
              <a:gd name="connsiteX4" fmla="*/ 337246 w 346191"/>
              <a:gd name="connsiteY4" fmla="*/ 206035 h 423264"/>
              <a:gd name="connsiteX5" fmla="*/ 324795 w 346191"/>
              <a:gd name="connsiteY5" fmla="*/ 331824 h 423264"/>
              <a:gd name="connsiteX6" fmla="*/ 109925 w 346191"/>
              <a:gd name="connsiteY6" fmla="*/ 331587 h 423264"/>
              <a:gd name="connsiteX7" fmla="*/ 102558 w 346191"/>
              <a:gd name="connsiteY7" fmla="*/ 321355 h 423264"/>
              <a:gd name="connsiteX8" fmla="*/ 103824 w 346191"/>
              <a:gd name="connsiteY8" fmla="*/ 0 h 423264"/>
              <a:gd name="connsiteX9" fmla="*/ 0 w 346191"/>
              <a:gd name="connsiteY9" fmla="*/ 0 h 423264"/>
              <a:gd name="connsiteX10" fmla="*/ 59275 w 346191"/>
              <a:gd name="connsiteY10" fmla="*/ 0 h 423264"/>
              <a:gd name="connsiteX11" fmla="*/ 65582 w 346191"/>
              <a:gd name="connsiteY11" fmla="*/ 331696 h 423264"/>
              <a:gd name="connsiteX12" fmla="*/ 89275 w 346191"/>
              <a:gd name="connsiteY12" fmla="*/ 423264 h 423264"/>
              <a:gd name="connsiteX0" fmla="*/ 0 w 346191"/>
              <a:gd name="connsiteY0" fmla="*/ 0 h 423264"/>
              <a:gd name="connsiteX1" fmla="*/ 324795 w 346191"/>
              <a:gd name="connsiteY1" fmla="*/ 0 h 423264"/>
              <a:gd name="connsiteX2" fmla="*/ 330750 w 346191"/>
              <a:gd name="connsiteY2" fmla="*/ 135007 h 423264"/>
              <a:gd name="connsiteX3" fmla="*/ 257671 w 346191"/>
              <a:gd name="connsiteY3" fmla="*/ 175130 h 423264"/>
              <a:gd name="connsiteX4" fmla="*/ 337246 w 346191"/>
              <a:gd name="connsiteY4" fmla="*/ 206035 h 423264"/>
              <a:gd name="connsiteX5" fmla="*/ 324795 w 346191"/>
              <a:gd name="connsiteY5" fmla="*/ 331824 h 423264"/>
              <a:gd name="connsiteX6" fmla="*/ 109925 w 346191"/>
              <a:gd name="connsiteY6" fmla="*/ 331587 h 423264"/>
              <a:gd name="connsiteX7" fmla="*/ 102558 w 346191"/>
              <a:gd name="connsiteY7" fmla="*/ 321355 h 423264"/>
              <a:gd name="connsiteX8" fmla="*/ 103824 w 346191"/>
              <a:gd name="connsiteY8" fmla="*/ 0 h 423264"/>
              <a:gd name="connsiteX9" fmla="*/ 0 w 346191"/>
              <a:gd name="connsiteY9" fmla="*/ 0 h 423264"/>
              <a:gd name="connsiteX10" fmla="*/ 59275 w 346191"/>
              <a:gd name="connsiteY10" fmla="*/ 0 h 423264"/>
              <a:gd name="connsiteX11" fmla="*/ 65582 w 346191"/>
              <a:gd name="connsiteY11" fmla="*/ 331696 h 423264"/>
              <a:gd name="connsiteX12" fmla="*/ 89275 w 346191"/>
              <a:gd name="connsiteY12" fmla="*/ 423264 h 423264"/>
              <a:gd name="connsiteX0" fmla="*/ 0 w 346191"/>
              <a:gd name="connsiteY0" fmla="*/ 0 h 423264"/>
              <a:gd name="connsiteX1" fmla="*/ 324795 w 346191"/>
              <a:gd name="connsiteY1" fmla="*/ 0 h 423264"/>
              <a:gd name="connsiteX2" fmla="*/ 330750 w 346191"/>
              <a:gd name="connsiteY2" fmla="*/ 135007 h 423264"/>
              <a:gd name="connsiteX3" fmla="*/ 257671 w 346191"/>
              <a:gd name="connsiteY3" fmla="*/ 175130 h 423264"/>
              <a:gd name="connsiteX4" fmla="*/ 337246 w 346191"/>
              <a:gd name="connsiteY4" fmla="*/ 206035 h 423264"/>
              <a:gd name="connsiteX5" fmla="*/ 324795 w 346191"/>
              <a:gd name="connsiteY5" fmla="*/ 331824 h 423264"/>
              <a:gd name="connsiteX6" fmla="*/ 109925 w 346191"/>
              <a:gd name="connsiteY6" fmla="*/ 331587 h 423264"/>
              <a:gd name="connsiteX7" fmla="*/ 102558 w 346191"/>
              <a:gd name="connsiteY7" fmla="*/ 321355 h 423264"/>
              <a:gd name="connsiteX8" fmla="*/ 103824 w 346191"/>
              <a:gd name="connsiteY8" fmla="*/ 0 h 423264"/>
              <a:gd name="connsiteX9" fmla="*/ 0 w 346191"/>
              <a:gd name="connsiteY9" fmla="*/ 0 h 423264"/>
              <a:gd name="connsiteX10" fmla="*/ 65582 w 346191"/>
              <a:gd name="connsiteY10" fmla="*/ 331696 h 423264"/>
              <a:gd name="connsiteX11" fmla="*/ 89275 w 346191"/>
              <a:gd name="connsiteY11" fmla="*/ 423264 h 423264"/>
              <a:gd name="connsiteX0" fmla="*/ 44452 w 286819"/>
              <a:gd name="connsiteY0" fmla="*/ 0 h 423264"/>
              <a:gd name="connsiteX1" fmla="*/ 265423 w 286819"/>
              <a:gd name="connsiteY1" fmla="*/ 0 h 423264"/>
              <a:gd name="connsiteX2" fmla="*/ 271378 w 286819"/>
              <a:gd name="connsiteY2" fmla="*/ 135007 h 423264"/>
              <a:gd name="connsiteX3" fmla="*/ 198299 w 286819"/>
              <a:gd name="connsiteY3" fmla="*/ 175130 h 423264"/>
              <a:gd name="connsiteX4" fmla="*/ 277874 w 286819"/>
              <a:gd name="connsiteY4" fmla="*/ 206035 h 423264"/>
              <a:gd name="connsiteX5" fmla="*/ 265423 w 286819"/>
              <a:gd name="connsiteY5" fmla="*/ 331824 h 423264"/>
              <a:gd name="connsiteX6" fmla="*/ 50553 w 286819"/>
              <a:gd name="connsiteY6" fmla="*/ 331587 h 423264"/>
              <a:gd name="connsiteX7" fmla="*/ 43186 w 286819"/>
              <a:gd name="connsiteY7" fmla="*/ 321355 h 423264"/>
              <a:gd name="connsiteX8" fmla="*/ 44452 w 286819"/>
              <a:gd name="connsiteY8" fmla="*/ 0 h 423264"/>
              <a:gd name="connsiteX9" fmla="*/ 6210 w 286819"/>
              <a:gd name="connsiteY9" fmla="*/ 331696 h 423264"/>
              <a:gd name="connsiteX10" fmla="*/ 29903 w 286819"/>
              <a:gd name="connsiteY10" fmla="*/ 423264 h 423264"/>
              <a:gd name="connsiteX0" fmla="*/ 44298 w 286665"/>
              <a:gd name="connsiteY0" fmla="*/ 0 h 331824"/>
              <a:gd name="connsiteX1" fmla="*/ 265269 w 286665"/>
              <a:gd name="connsiteY1" fmla="*/ 0 h 331824"/>
              <a:gd name="connsiteX2" fmla="*/ 271224 w 286665"/>
              <a:gd name="connsiteY2" fmla="*/ 135007 h 331824"/>
              <a:gd name="connsiteX3" fmla="*/ 198145 w 286665"/>
              <a:gd name="connsiteY3" fmla="*/ 175130 h 331824"/>
              <a:gd name="connsiteX4" fmla="*/ 277720 w 286665"/>
              <a:gd name="connsiteY4" fmla="*/ 206035 h 331824"/>
              <a:gd name="connsiteX5" fmla="*/ 265269 w 286665"/>
              <a:gd name="connsiteY5" fmla="*/ 331824 h 331824"/>
              <a:gd name="connsiteX6" fmla="*/ 50399 w 286665"/>
              <a:gd name="connsiteY6" fmla="*/ 331587 h 331824"/>
              <a:gd name="connsiteX7" fmla="*/ 43032 w 286665"/>
              <a:gd name="connsiteY7" fmla="*/ 321355 h 331824"/>
              <a:gd name="connsiteX8" fmla="*/ 44298 w 286665"/>
              <a:gd name="connsiteY8" fmla="*/ 0 h 331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665" h="331824">
                <a:moveTo>
                  <a:pt x="44298" y="0"/>
                </a:moveTo>
                <a:lnTo>
                  <a:pt x="265269" y="0"/>
                </a:lnTo>
                <a:cubicBezTo>
                  <a:pt x="270682" y="39038"/>
                  <a:pt x="288005" y="125247"/>
                  <a:pt x="271224" y="135007"/>
                </a:cubicBezTo>
                <a:cubicBezTo>
                  <a:pt x="257691" y="143140"/>
                  <a:pt x="200310" y="84583"/>
                  <a:pt x="198145" y="175130"/>
                </a:cubicBezTo>
                <a:cubicBezTo>
                  <a:pt x="195980" y="265676"/>
                  <a:pt x="261480" y="195733"/>
                  <a:pt x="277720" y="206035"/>
                </a:cubicBezTo>
                <a:cubicBezTo>
                  <a:pt x="299914" y="220132"/>
                  <a:pt x="275013" y="287364"/>
                  <a:pt x="265269" y="331824"/>
                </a:cubicBezTo>
                <a:cubicBezTo>
                  <a:pt x="226389" y="331103"/>
                  <a:pt x="134121" y="331341"/>
                  <a:pt x="50399" y="331587"/>
                </a:cubicBezTo>
                <a:lnTo>
                  <a:pt x="43032" y="321355"/>
                </a:lnTo>
                <a:cubicBezTo>
                  <a:pt x="-16564" y="218132"/>
                  <a:pt x="-12482" y="95619"/>
                  <a:pt x="44298" y="0"/>
                </a:cubicBezTo>
                <a:close/>
              </a:path>
            </a:pathLst>
          </a:custGeom>
          <a:solidFill>
            <a:srgbClr val="B9CDE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6" name="Freeform 51">
            <a:extLst>
              <a:ext uri="{FF2B5EF4-FFF2-40B4-BE49-F238E27FC236}">
                <a16:creationId xmlns:a16="http://schemas.microsoft.com/office/drawing/2014/main" id="{63353ECC-1EC2-5934-2D54-A73B1ADDE960}"/>
              </a:ext>
            </a:extLst>
          </p:cNvPr>
          <p:cNvSpPr>
            <a:spLocks/>
          </p:cNvSpPr>
          <p:nvPr/>
        </p:nvSpPr>
        <p:spPr bwMode="gray">
          <a:xfrm>
            <a:off x="5941802" y="1509895"/>
            <a:ext cx="1954826" cy="1411038"/>
          </a:xfrm>
          <a:custGeom>
            <a:avLst/>
            <a:gdLst>
              <a:gd name="connsiteX0" fmla="*/ 331704 w 398474"/>
              <a:gd name="connsiteY0" fmla="*/ 0 h 331824"/>
              <a:gd name="connsiteX1" fmla="*/ 398474 w 398474"/>
              <a:gd name="connsiteY1" fmla="*/ 330740 h 331824"/>
              <a:gd name="connsiteX2" fmla="*/ 332785 w 398474"/>
              <a:gd name="connsiteY2" fmla="*/ 330756 h 331824"/>
              <a:gd name="connsiteX3" fmla="*/ 331704 w 398474"/>
              <a:gd name="connsiteY3" fmla="*/ 0 h 331824"/>
              <a:gd name="connsiteX4" fmla="*/ 68217 w 398474"/>
              <a:gd name="connsiteY4" fmla="*/ 0 h 331824"/>
              <a:gd name="connsiteX5" fmla="*/ 288755 w 398474"/>
              <a:gd name="connsiteY5" fmla="*/ 0 h 331824"/>
              <a:gd name="connsiteX6" fmla="*/ 292271 w 398474"/>
              <a:gd name="connsiteY6" fmla="*/ 4883 h 331824"/>
              <a:gd name="connsiteX7" fmla="*/ 288202 w 398474"/>
              <a:gd name="connsiteY7" fmla="*/ 330809 h 331824"/>
              <a:gd name="connsiteX8" fmla="*/ 67134 w 398474"/>
              <a:gd name="connsiteY8" fmla="*/ 331824 h 331824"/>
              <a:gd name="connsiteX9" fmla="*/ 82835 w 398474"/>
              <a:gd name="connsiteY9" fmla="*/ 209830 h 331824"/>
              <a:gd name="connsiteX10" fmla="*/ 0 w 398474"/>
              <a:gd name="connsiteY10" fmla="*/ 174587 h 331824"/>
              <a:gd name="connsiteX11" fmla="*/ 75797 w 398474"/>
              <a:gd name="connsiteY11" fmla="*/ 130127 h 331824"/>
              <a:gd name="connsiteX12" fmla="*/ 68217 w 398474"/>
              <a:gd name="connsiteY12" fmla="*/ 0 h 331824"/>
              <a:gd name="connsiteX0" fmla="*/ 332785 w 398474"/>
              <a:gd name="connsiteY0" fmla="*/ 330756 h 331824"/>
              <a:gd name="connsiteX1" fmla="*/ 398474 w 398474"/>
              <a:gd name="connsiteY1" fmla="*/ 330740 h 331824"/>
              <a:gd name="connsiteX2" fmla="*/ 332785 w 398474"/>
              <a:gd name="connsiteY2" fmla="*/ 330756 h 331824"/>
              <a:gd name="connsiteX3" fmla="*/ 68217 w 398474"/>
              <a:gd name="connsiteY3" fmla="*/ 0 h 331824"/>
              <a:gd name="connsiteX4" fmla="*/ 288755 w 398474"/>
              <a:gd name="connsiteY4" fmla="*/ 0 h 331824"/>
              <a:gd name="connsiteX5" fmla="*/ 292271 w 398474"/>
              <a:gd name="connsiteY5" fmla="*/ 4883 h 331824"/>
              <a:gd name="connsiteX6" fmla="*/ 288202 w 398474"/>
              <a:gd name="connsiteY6" fmla="*/ 330809 h 331824"/>
              <a:gd name="connsiteX7" fmla="*/ 67134 w 398474"/>
              <a:gd name="connsiteY7" fmla="*/ 331824 h 331824"/>
              <a:gd name="connsiteX8" fmla="*/ 82835 w 398474"/>
              <a:gd name="connsiteY8" fmla="*/ 209830 h 331824"/>
              <a:gd name="connsiteX9" fmla="*/ 0 w 398474"/>
              <a:gd name="connsiteY9" fmla="*/ 174587 h 331824"/>
              <a:gd name="connsiteX10" fmla="*/ 75797 w 398474"/>
              <a:gd name="connsiteY10" fmla="*/ 130127 h 331824"/>
              <a:gd name="connsiteX11" fmla="*/ 68217 w 398474"/>
              <a:gd name="connsiteY11" fmla="*/ 0 h 331824"/>
              <a:gd name="connsiteX0" fmla="*/ 68217 w 335300"/>
              <a:gd name="connsiteY0" fmla="*/ 0 h 331824"/>
              <a:gd name="connsiteX1" fmla="*/ 288755 w 335300"/>
              <a:gd name="connsiteY1" fmla="*/ 0 h 331824"/>
              <a:gd name="connsiteX2" fmla="*/ 292271 w 335300"/>
              <a:gd name="connsiteY2" fmla="*/ 4883 h 331824"/>
              <a:gd name="connsiteX3" fmla="*/ 288202 w 335300"/>
              <a:gd name="connsiteY3" fmla="*/ 330809 h 331824"/>
              <a:gd name="connsiteX4" fmla="*/ 67134 w 335300"/>
              <a:gd name="connsiteY4" fmla="*/ 331824 h 331824"/>
              <a:gd name="connsiteX5" fmla="*/ 82835 w 335300"/>
              <a:gd name="connsiteY5" fmla="*/ 209830 h 331824"/>
              <a:gd name="connsiteX6" fmla="*/ 0 w 335300"/>
              <a:gd name="connsiteY6" fmla="*/ 174587 h 331824"/>
              <a:gd name="connsiteX7" fmla="*/ 75797 w 335300"/>
              <a:gd name="connsiteY7" fmla="*/ 130127 h 331824"/>
              <a:gd name="connsiteX8" fmla="*/ 68217 w 335300"/>
              <a:gd name="connsiteY8" fmla="*/ 0 h 331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300" h="331824">
                <a:moveTo>
                  <a:pt x="68217" y="0"/>
                </a:moveTo>
                <a:lnTo>
                  <a:pt x="288755" y="0"/>
                </a:lnTo>
                <a:lnTo>
                  <a:pt x="292271" y="4883"/>
                </a:lnTo>
                <a:cubicBezTo>
                  <a:pt x="352828" y="109772"/>
                  <a:pt x="347637" y="234578"/>
                  <a:pt x="288202" y="330809"/>
                </a:cubicBezTo>
                <a:lnTo>
                  <a:pt x="67134" y="331824"/>
                </a:lnTo>
                <a:cubicBezTo>
                  <a:pt x="74714" y="297124"/>
                  <a:pt x="94746" y="236398"/>
                  <a:pt x="82835" y="209830"/>
                </a:cubicBezTo>
                <a:cubicBezTo>
                  <a:pt x="70383" y="183262"/>
                  <a:pt x="0" y="273267"/>
                  <a:pt x="0" y="174587"/>
                </a:cubicBezTo>
                <a:cubicBezTo>
                  <a:pt x="0" y="75907"/>
                  <a:pt x="64427" y="156695"/>
                  <a:pt x="75797" y="130127"/>
                </a:cubicBezTo>
                <a:cubicBezTo>
                  <a:pt x="87166" y="104102"/>
                  <a:pt x="71466" y="52051"/>
                  <a:pt x="68217" y="0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Rectangle 15">
            <a:extLst>
              <a:ext uri="{FF2B5EF4-FFF2-40B4-BE49-F238E27FC236}">
                <a16:creationId xmlns:a16="http://schemas.microsoft.com/office/drawing/2014/main" id="{55241B88-0478-62D7-5F05-8F691E20B6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5893" y="4607363"/>
            <a:ext cx="4636357" cy="1411038"/>
          </a:xfrm>
          <a:prstGeom prst="homePlate">
            <a:avLst>
              <a:gd name="adj" fmla="val 16338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</p:spPr>
        <p:txBody>
          <a:bodyPr lIns="475488" rIns="45720" anchor="ctr">
            <a:noAutofit/>
          </a:bodyPr>
          <a:lstStyle/>
          <a:p>
            <a:pPr algn="l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sz="1800" dirty="0">
              <a:solidFill>
                <a:srgbClr val="FFFFFF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8" name="Rectangle 15">
            <a:extLst>
              <a:ext uri="{FF2B5EF4-FFF2-40B4-BE49-F238E27FC236}">
                <a16:creationId xmlns:a16="http://schemas.microsoft.com/office/drawing/2014/main" id="{C12DF45F-8393-18EA-8693-FEA36B14B74A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7402742" y="4607363"/>
            <a:ext cx="4223365" cy="1411038"/>
          </a:xfrm>
          <a:prstGeom prst="homePlate">
            <a:avLst>
              <a:gd name="adj" fmla="val 16338"/>
            </a:avLst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</p:spPr>
        <p:txBody>
          <a:bodyPr lIns="475488" rIns="45720" anchor="ctr">
            <a:noAutofit/>
          </a:bodyPr>
          <a:lstStyle/>
          <a:p>
            <a:pPr algn="l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sz="1800" dirty="0">
              <a:solidFill>
                <a:srgbClr val="FFFFFF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AB86D39-3D68-B026-6575-E3794A588A64}"/>
              </a:ext>
            </a:extLst>
          </p:cNvPr>
          <p:cNvSpPr txBox="1">
            <a:spLocks/>
          </p:cNvSpPr>
          <p:nvPr/>
        </p:nvSpPr>
        <p:spPr>
          <a:xfrm>
            <a:off x="742294" y="4881995"/>
            <a:ext cx="3412611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</a:rPr>
              <a:t>This is a sample text. You simply add your own text and description here. This text is fully editable. It can be replaced with your own style. You can change it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36F40E6-0514-54E8-A165-104BAE91BC13}"/>
              </a:ext>
            </a:extLst>
          </p:cNvPr>
          <p:cNvSpPr txBox="1">
            <a:spLocks/>
          </p:cNvSpPr>
          <p:nvPr/>
        </p:nvSpPr>
        <p:spPr>
          <a:xfrm>
            <a:off x="7987278" y="4774273"/>
            <a:ext cx="3399650" cy="10772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</a:rPr>
              <a:t>This is a sample text. You simply add your own text and description here. This text is fully editable. It can be replaced with your own style. You can change its</a:t>
            </a:r>
          </a:p>
        </p:txBody>
      </p:sp>
      <p:sp>
        <p:nvSpPr>
          <p:cNvPr id="21" name="Freeform 50">
            <a:extLst>
              <a:ext uri="{FF2B5EF4-FFF2-40B4-BE49-F238E27FC236}">
                <a16:creationId xmlns:a16="http://schemas.microsoft.com/office/drawing/2014/main" id="{74CDFA15-B977-6DDE-494B-CB020676A6A7}"/>
              </a:ext>
            </a:extLst>
          </p:cNvPr>
          <p:cNvSpPr>
            <a:spLocks/>
          </p:cNvSpPr>
          <p:nvPr/>
        </p:nvSpPr>
        <p:spPr bwMode="gray">
          <a:xfrm>
            <a:off x="4295373" y="4607363"/>
            <a:ext cx="1671288" cy="1411038"/>
          </a:xfrm>
          <a:custGeom>
            <a:avLst/>
            <a:gdLst>
              <a:gd name="connsiteX0" fmla="*/ 0 w 346191"/>
              <a:gd name="connsiteY0" fmla="*/ 0 h 423264"/>
              <a:gd name="connsiteX1" fmla="*/ 324795 w 346191"/>
              <a:gd name="connsiteY1" fmla="*/ 0 h 423264"/>
              <a:gd name="connsiteX2" fmla="*/ 330750 w 346191"/>
              <a:gd name="connsiteY2" fmla="*/ 135007 h 423264"/>
              <a:gd name="connsiteX3" fmla="*/ 257671 w 346191"/>
              <a:gd name="connsiteY3" fmla="*/ 175130 h 423264"/>
              <a:gd name="connsiteX4" fmla="*/ 337246 w 346191"/>
              <a:gd name="connsiteY4" fmla="*/ 206035 h 423264"/>
              <a:gd name="connsiteX5" fmla="*/ 324795 w 346191"/>
              <a:gd name="connsiteY5" fmla="*/ 331824 h 423264"/>
              <a:gd name="connsiteX6" fmla="*/ 109925 w 346191"/>
              <a:gd name="connsiteY6" fmla="*/ 331587 h 423264"/>
              <a:gd name="connsiteX7" fmla="*/ 102558 w 346191"/>
              <a:gd name="connsiteY7" fmla="*/ 321355 h 423264"/>
              <a:gd name="connsiteX8" fmla="*/ 103824 w 346191"/>
              <a:gd name="connsiteY8" fmla="*/ 0 h 423264"/>
              <a:gd name="connsiteX9" fmla="*/ 0 w 346191"/>
              <a:gd name="connsiteY9" fmla="*/ 0 h 423264"/>
              <a:gd name="connsiteX10" fmla="*/ 59275 w 346191"/>
              <a:gd name="connsiteY10" fmla="*/ 0 h 423264"/>
              <a:gd name="connsiteX11" fmla="*/ 65582 w 346191"/>
              <a:gd name="connsiteY11" fmla="*/ 331696 h 423264"/>
              <a:gd name="connsiteX12" fmla="*/ 89275 w 346191"/>
              <a:gd name="connsiteY12" fmla="*/ 423264 h 423264"/>
              <a:gd name="connsiteX0" fmla="*/ 0 w 346191"/>
              <a:gd name="connsiteY0" fmla="*/ 0 h 423264"/>
              <a:gd name="connsiteX1" fmla="*/ 324795 w 346191"/>
              <a:gd name="connsiteY1" fmla="*/ 0 h 423264"/>
              <a:gd name="connsiteX2" fmla="*/ 330750 w 346191"/>
              <a:gd name="connsiteY2" fmla="*/ 135007 h 423264"/>
              <a:gd name="connsiteX3" fmla="*/ 257671 w 346191"/>
              <a:gd name="connsiteY3" fmla="*/ 175130 h 423264"/>
              <a:gd name="connsiteX4" fmla="*/ 337246 w 346191"/>
              <a:gd name="connsiteY4" fmla="*/ 206035 h 423264"/>
              <a:gd name="connsiteX5" fmla="*/ 324795 w 346191"/>
              <a:gd name="connsiteY5" fmla="*/ 331824 h 423264"/>
              <a:gd name="connsiteX6" fmla="*/ 109925 w 346191"/>
              <a:gd name="connsiteY6" fmla="*/ 331587 h 423264"/>
              <a:gd name="connsiteX7" fmla="*/ 102558 w 346191"/>
              <a:gd name="connsiteY7" fmla="*/ 321355 h 423264"/>
              <a:gd name="connsiteX8" fmla="*/ 103824 w 346191"/>
              <a:gd name="connsiteY8" fmla="*/ 0 h 423264"/>
              <a:gd name="connsiteX9" fmla="*/ 0 w 346191"/>
              <a:gd name="connsiteY9" fmla="*/ 0 h 423264"/>
              <a:gd name="connsiteX10" fmla="*/ 59275 w 346191"/>
              <a:gd name="connsiteY10" fmla="*/ 0 h 423264"/>
              <a:gd name="connsiteX11" fmla="*/ 65582 w 346191"/>
              <a:gd name="connsiteY11" fmla="*/ 331696 h 423264"/>
              <a:gd name="connsiteX12" fmla="*/ 89275 w 346191"/>
              <a:gd name="connsiteY12" fmla="*/ 423264 h 423264"/>
              <a:gd name="connsiteX0" fmla="*/ 0 w 346191"/>
              <a:gd name="connsiteY0" fmla="*/ 0 h 423264"/>
              <a:gd name="connsiteX1" fmla="*/ 324795 w 346191"/>
              <a:gd name="connsiteY1" fmla="*/ 0 h 423264"/>
              <a:gd name="connsiteX2" fmla="*/ 330750 w 346191"/>
              <a:gd name="connsiteY2" fmla="*/ 135007 h 423264"/>
              <a:gd name="connsiteX3" fmla="*/ 257671 w 346191"/>
              <a:gd name="connsiteY3" fmla="*/ 175130 h 423264"/>
              <a:gd name="connsiteX4" fmla="*/ 337246 w 346191"/>
              <a:gd name="connsiteY4" fmla="*/ 206035 h 423264"/>
              <a:gd name="connsiteX5" fmla="*/ 324795 w 346191"/>
              <a:gd name="connsiteY5" fmla="*/ 331824 h 423264"/>
              <a:gd name="connsiteX6" fmla="*/ 109925 w 346191"/>
              <a:gd name="connsiteY6" fmla="*/ 331587 h 423264"/>
              <a:gd name="connsiteX7" fmla="*/ 102558 w 346191"/>
              <a:gd name="connsiteY7" fmla="*/ 321355 h 423264"/>
              <a:gd name="connsiteX8" fmla="*/ 103824 w 346191"/>
              <a:gd name="connsiteY8" fmla="*/ 0 h 423264"/>
              <a:gd name="connsiteX9" fmla="*/ 0 w 346191"/>
              <a:gd name="connsiteY9" fmla="*/ 0 h 423264"/>
              <a:gd name="connsiteX10" fmla="*/ 65582 w 346191"/>
              <a:gd name="connsiteY10" fmla="*/ 331696 h 423264"/>
              <a:gd name="connsiteX11" fmla="*/ 89275 w 346191"/>
              <a:gd name="connsiteY11" fmla="*/ 423264 h 423264"/>
              <a:gd name="connsiteX0" fmla="*/ 44452 w 286819"/>
              <a:gd name="connsiteY0" fmla="*/ 0 h 423264"/>
              <a:gd name="connsiteX1" fmla="*/ 265423 w 286819"/>
              <a:gd name="connsiteY1" fmla="*/ 0 h 423264"/>
              <a:gd name="connsiteX2" fmla="*/ 271378 w 286819"/>
              <a:gd name="connsiteY2" fmla="*/ 135007 h 423264"/>
              <a:gd name="connsiteX3" fmla="*/ 198299 w 286819"/>
              <a:gd name="connsiteY3" fmla="*/ 175130 h 423264"/>
              <a:gd name="connsiteX4" fmla="*/ 277874 w 286819"/>
              <a:gd name="connsiteY4" fmla="*/ 206035 h 423264"/>
              <a:gd name="connsiteX5" fmla="*/ 265423 w 286819"/>
              <a:gd name="connsiteY5" fmla="*/ 331824 h 423264"/>
              <a:gd name="connsiteX6" fmla="*/ 50553 w 286819"/>
              <a:gd name="connsiteY6" fmla="*/ 331587 h 423264"/>
              <a:gd name="connsiteX7" fmla="*/ 43186 w 286819"/>
              <a:gd name="connsiteY7" fmla="*/ 321355 h 423264"/>
              <a:gd name="connsiteX8" fmla="*/ 44452 w 286819"/>
              <a:gd name="connsiteY8" fmla="*/ 0 h 423264"/>
              <a:gd name="connsiteX9" fmla="*/ 6210 w 286819"/>
              <a:gd name="connsiteY9" fmla="*/ 331696 h 423264"/>
              <a:gd name="connsiteX10" fmla="*/ 29903 w 286819"/>
              <a:gd name="connsiteY10" fmla="*/ 423264 h 423264"/>
              <a:gd name="connsiteX0" fmla="*/ 44298 w 286665"/>
              <a:gd name="connsiteY0" fmla="*/ 0 h 331824"/>
              <a:gd name="connsiteX1" fmla="*/ 265269 w 286665"/>
              <a:gd name="connsiteY1" fmla="*/ 0 h 331824"/>
              <a:gd name="connsiteX2" fmla="*/ 271224 w 286665"/>
              <a:gd name="connsiteY2" fmla="*/ 135007 h 331824"/>
              <a:gd name="connsiteX3" fmla="*/ 198145 w 286665"/>
              <a:gd name="connsiteY3" fmla="*/ 175130 h 331824"/>
              <a:gd name="connsiteX4" fmla="*/ 277720 w 286665"/>
              <a:gd name="connsiteY4" fmla="*/ 206035 h 331824"/>
              <a:gd name="connsiteX5" fmla="*/ 265269 w 286665"/>
              <a:gd name="connsiteY5" fmla="*/ 331824 h 331824"/>
              <a:gd name="connsiteX6" fmla="*/ 50399 w 286665"/>
              <a:gd name="connsiteY6" fmla="*/ 331587 h 331824"/>
              <a:gd name="connsiteX7" fmla="*/ 43032 w 286665"/>
              <a:gd name="connsiteY7" fmla="*/ 321355 h 331824"/>
              <a:gd name="connsiteX8" fmla="*/ 44298 w 286665"/>
              <a:gd name="connsiteY8" fmla="*/ 0 h 331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665" h="331824">
                <a:moveTo>
                  <a:pt x="44298" y="0"/>
                </a:moveTo>
                <a:lnTo>
                  <a:pt x="265269" y="0"/>
                </a:lnTo>
                <a:cubicBezTo>
                  <a:pt x="270682" y="39038"/>
                  <a:pt x="288005" y="125247"/>
                  <a:pt x="271224" y="135007"/>
                </a:cubicBezTo>
                <a:cubicBezTo>
                  <a:pt x="257691" y="143140"/>
                  <a:pt x="200310" y="84583"/>
                  <a:pt x="198145" y="175130"/>
                </a:cubicBezTo>
                <a:cubicBezTo>
                  <a:pt x="195980" y="265676"/>
                  <a:pt x="261480" y="195733"/>
                  <a:pt x="277720" y="206035"/>
                </a:cubicBezTo>
                <a:cubicBezTo>
                  <a:pt x="299914" y="220132"/>
                  <a:pt x="275013" y="287364"/>
                  <a:pt x="265269" y="331824"/>
                </a:cubicBezTo>
                <a:cubicBezTo>
                  <a:pt x="226389" y="331103"/>
                  <a:pt x="134121" y="331341"/>
                  <a:pt x="50399" y="331587"/>
                </a:cubicBezTo>
                <a:lnTo>
                  <a:pt x="43032" y="321355"/>
                </a:lnTo>
                <a:cubicBezTo>
                  <a:pt x="-16564" y="218132"/>
                  <a:pt x="-12482" y="95619"/>
                  <a:pt x="44298" y="0"/>
                </a:cubicBezTo>
                <a:close/>
              </a:path>
            </a:pathLst>
          </a:custGeom>
          <a:solidFill>
            <a:srgbClr val="B9CDE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2" name="Freeform 51">
            <a:extLst>
              <a:ext uri="{FF2B5EF4-FFF2-40B4-BE49-F238E27FC236}">
                <a16:creationId xmlns:a16="http://schemas.microsoft.com/office/drawing/2014/main" id="{303B7CDA-8643-7FB7-E95C-A76275ED1280}"/>
              </a:ext>
            </a:extLst>
          </p:cNvPr>
          <p:cNvSpPr>
            <a:spLocks/>
          </p:cNvSpPr>
          <p:nvPr/>
        </p:nvSpPr>
        <p:spPr bwMode="gray">
          <a:xfrm>
            <a:off x="5941802" y="4607363"/>
            <a:ext cx="1954826" cy="1411038"/>
          </a:xfrm>
          <a:custGeom>
            <a:avLst/>
            <a:gdLst>
              <a:gd name="connsiteX0" fmla="*/ 331704 w 398474"/>
              <a:gd name="connsiteY0" fmla="*/ 0 h 331824"/>
              <a:gd name="connsiteX1" fmla="*/ 398474 w 398474"/>
              <a:gd name="connsiteY1" fmla="*/ 330740 h 331824"/>
              <a:gd name="connsiteX2" fmla="*/ 332785 w 398474"/>
              <a:gd name="connsiteY2" fmla="*/ 330756 h 331824"/>
              <a:gd name="connsiteX3" fmla="*/ 331704 w 398474"/>
              <a:gd name="connsiteY3" fmla="*/ 0 h 331824"/>
              <a:gd name="connsiteX4" fmla="*/ 68217 w 398474"/>
              <a:gd name="connsiteY4" fmla="*/ 0 h 331824"/>
              <a:gd name="connsiteX5" fmla="*/ 288755 w 398474"/>
              <a:gd name="connsiteY5" fmla="*/ 0 h 331824"/>
              <a:gd name="connsiteX6" fmla="*/ 292271 w 398474"/>
              <a:gd name="connsiteY6" fmla="*/ 4883 h 331824"/>
              <a:gd name="connsiteX7" fmla="*/ 288202 w 398474"/>
              <a:gd name="connsiteY7" fmla="*/ 330809 h 331824"/>
              <a:gd name="connsiteX8" fmla="*/ 67134 w 398474"/>
              <a:gd name="connsiteY8" fmla="*/ 331824 h 331824"/>
              <a:gd name="connsiteX9" fmla="*/ 82835 w 398474"/>
              <a:gd name="connsiteY9" fmla="*/ 209830 h 331824"/>
              <a:gd name="connsiteX10" fmla="*/ 0 w 398474"/>
              <a:gd name="connsiteY10" fmla="*/ 174587 h 331824"/>
              <a:gd name="connsiteX11" fmla="*/ 75797 w 398474"/>
              <a:gd name="connsiteY11" fmla="*/ 130127 h 331824"/>
              <a:gd name="connsiteX12" fmla="*/ 68217 w 398474"/>
              <a:gd name="connsiteY12" fmla="*/ 0 h 331824"/>
              <a:gd name="connsiteX0" fmla="*/ 332785 w 398474"/>
              <a:gd name="connsiteY0" fmla="*/ 330756 h 331824"/>
              <a:gd name="connsiteX1" fmla="*/ 398474 w 398474"/>
              <a:gd name="connsiteY1" fmla="*/ 330740 h 331824"/>
              <a:gd name="connsiteX2" fmla="*/ 332785 w 398474"/>
              <a:gd name="connsiteY2" fmla="*/ 330756 h 331824"/>
              <a:gd name="connsiteX3" fmla="*/ 68217 w 398474"/>
              <a:gd name="connsiteY3" fmla="*/ 0 h 331824"/>
              <a:gd name="connsiteX4" fmla="*/ 288755 w 398474"/>
              <a:gd name="connsiteY4" fmla="*/ 0 h 331824"/>
              <a:gd name="connsiteX5" fmla="*/ 292271 w 398474"/>
              <a:gd name="connsiteY5" fmla="*/ 4883 h 331824"/>
              <a:gd name="connsiteX6" fmla="*/ 288202 w 398474"/>
              <a:gd name="connsiteY6" fmla="*/ 330809 h 331824"/>
              <a:gd name="connsiteX7" fmla="*/ 67134 w 398474"/>
              <a:gd name="connsiteY7" fmla="*/ 331824 h 331824"/>
              <a:gd name="connsiteX8" fmla="*/ 82835 w 398474"/>
              <a:gd name="connsiteY8" fmla="*/ 209830 h 331824"/>
              <a:gd name="connsiteX9" fmla="*/ 0 w 398474"/>
              <a:gd name="connsiteY9" fmla="*/ 174587 h 331824"/>
              <a:gd name="connsiteX10" fmla="*/ 75797 w 398474"/>
              <a:gd name="connsiteY10" fmla="*/ 130127 h 331824"/>
              <a:gd name="connsiteX11" fmla="*/ 68217 w 398474"/>
              <a:gd name="connsiteY11" fmla="*/ 0 h 331824"/>
              <a:gd name="connsiteX0" fmla="*/ 68217 w 335300"/>
              <a:gd name="connsiteY0" fmla="*/ 0 h 331824"/>
              <a:gd name="connsiteX1" fmla="*/ 288755 w 335300"/>
              <a:gd name="connsiteY1" fmla="*/ 0 h 331824"/>
              <a:gd name="connsiteX2" fmla="*/ 292271 w 335300"/>
              <a:gd name="connsiteY2" fmla="*/ 4883 h 331824"/>
              <a:gd name="connsiteX3" fmla="*/ 288202 w 335300"/>
              <a:gd name="connsiteY3" fmla="*/ 330809 h 331824"/>
              <a:gd name="connsiteX4" fmla="*/ 67134 w 335300"/>
              <a:gd name="connsiteY4" fmla="*/ 331824 h 331824"/>
              <a:gd name="connsiteX5" fmla="*/ 82835 w 335300"/>
              <a:gd name="connsiteY5" fmla="*/ 209830 h 331824"/>
              <a:gd name="connsiteX6" fmla="*/ 0 w 335300"/>
              <a:gd name="connsiteY6" fmla="*/ 174587 h 331824"/>
              <a:gd name="connsiteX7" fmla="*/ 75797 w 335300"/>
              <a:gd name="connsiteY7" fmla="*/ 130127 h 331824"/>
              <a:gd name="connsiteX8" fmla="*/ 68217 w 335300"/>
              <a:gd name="connsiteY8" fmla="*/ 0 h 331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300" h="331824">
                <a:moveTo>
                  <a:pt x="68217" y="0"/>
                </a:moveTo>
                <a:lnTo>
                  <a:pt x="288755" y="0"/>
                </a:lnTo>
                <a:lnTo>
                  <a:pt x="292271" y="4883"/>
                </a:lnTo>
                <a:cubicBezTo>
                  <a:pt x="352828" y="109772"/>
                  <a:pt x="347637" y="234578"/>
                  <a:pt x="288202" y="330809"/>
                </a:cubicBezTo>
                <a:lnTo>
                  <a:pt x="67134" y="331824"/>
                </a:lnTo>
                <a:cubicBezTo>
                  <a:pt x="74714" y="297124"/>
                  <a:pt x="94746" y="236398"/>
                  <a:pt x="82835" y="209830"/>
                </a:cubicBezTo>
                <a:cubicBezTo>
                  <a:pt x="70383" y="183262"/>
                  <a:pt x="0" y="273267"/>
                  <a:pt x="0" y="174587"/>
                </a:cubicBezTo>
                <a:cubicBezTo>
                  <a:pt x="0" y="75907"/>
                  <a:pt x="64427" y="156695"/>
                  <a:pt x="75797" y="130127"/>
                </a:cubicBezTo>
                <a:cubicBezTo>
                  <a:pt x="87166" y="104102"/>
                  <a:pt x="71466" y="52051"/>
                  <a:pt x="68217" y="0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5333E2D-A68A-A9C7-92CD-A6A1082E3CFD}"/>
              </a:ext>
            </a:extLst>
          </p:cNvPr>
          <p:cNvGrpSpPr/>
          <p:nvPr/>
        </p:nvGrpSpPr>
        <p:grpSpPr>
          <a:xfrm>
            <a:off x="4499333" y="5061403"/>
            <a:ext cx="819354" cy="552532"/>
            <a:chOff x="6716027" y="5411634"/>
            <a:chExt cx="583964" cy="393797"/>
          </a:xfrm>
          <a:solidFill>
            <a:schemeClr val="accent1"/>
          </a:solidFill>
        </p:grpSpPr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B729FBF4-E53B-B75F-1F17-DA887799EA87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78771096-B560-F48F-1B21-00E11586F4DF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B555DE31-50C8-05D5-119B-4E92EC5CDA53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27" name="Freeform 23">
            <a:extLst>
              <a:ext uri="{FF2B5EF4-FFF2-40B4-BE49-F238E27FC236}">
                <a16:creationId xmlns:a16="http://schemas.microsoft.com/office/drawing/2014/main" id="{BF00A54E-8FAB-DD33-AC5A-5CFBE640F3F3}"/>
              </a:ext>
            </a:extLst>
          </p:cNvPr>
          <p:cNvSpPr>
            <a:spLocks noEditPoints="1"/>
          </p:cNvSpPr>
          <p:nvPr/>
        </p:nvSpPr>
        <p:spPr bwMode="auto">
          <a:xfrm>
            <a:off x="4545283" y="3420971"/>
            <a:ext cx="727454" cy="644230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07534F5-E803-A124-729D-95FC330B3456}"/>
              </a:ext>
            </a:extLst>
          </p:cNvPr>
          <p:cNvGrpSpPr>
            <a:grpSpLocks noChangeAspect="1"/>
          </p:cNvGrpSpPr>
          <p:nvPr/>
        </p:nvGrpSpPr>
        <p:grpSpPr>
          <a:xfrm>
            <a:off x="4573146" y="1919099"/>
            <a:ext cx="671729" cy="639391"/>
            <a:chOff x="6719888" y="887413"/>
            <a:chExt cx="492125" cy="468312"/>
          </a:xfrm>
          <a:solidFill>
            <a:schemeClr val="accent1"/>
          </a:solidFill>
        </p:grpSpPr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0700C50E-02FD-D032-8494-DADA4F8151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0" name="Freeform 27">
              <a:extLst>
                <a:ext uri="{FF2B5EF4-FFF2-40B4-BE49-F238E27FC236}">
                  <a16:creationId xmlns:a16="http://schemas.microsoft.com/office/drawing/2014/main" id="{7C50870A-0E1A-D9B8-40A0-18F87009F5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1" name="Freeform 28">
              <a:extLst>
                <a:ext uri="{FF2B5EF4-FFF2-40B4-BE49-F238E27FC236}">
                  <a16:creationId xmlns:a16="http://schemas.microsoft.com/office/drawing/2014/main" id="{5A5536A3-DD39-DC05-372D-F72AB233D1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2" name="Freeform 29">
              <a:extLst>
                <a:ext uri="{FF2B5EF4-FFF2-40B4-BE49-F238E27FC236}">
                  <a16:creationId xmlns:a16="http://schemas.microsoft.com/office/drawing/2014/main" id="{71C08EEA-8FC8-7A7A-749D-583465DB2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3" name="Freeform 30">
              <a:extLst>
                <a:ext uri="{FF2B5EF4-FFF2-40B4-BE49-F238E27FC236}">
                  <a16:creationId xmlns:a16="http://schemas.microsoft.com/office/drawing/2014/main" id="{5C41CA76-08F9-52C1-DCBA-C8449C4C9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FA8C6826-9700-A6C1-FB8A-CD113AA7D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4DECB8D-9397-2D5B-29F8-4451112532BC}"/>
              </a:ext>
            </a:extLst>
          </p:cNvPr>
          <p:cNvGrpSpPr/>
          <p:nvPr/>
        </p:nvGrpSpPr>
        <p:grpSpPr>
          <a:xfrm>
            <a:off x="6785333" y="5061403"/>
            <a:ext cx="819354" cy="552532"/>
            <a:chOff x="6716027" y="5411634"/>
            <a:chExt cx="583964" cy="393797"/>
          </a:xfrm>
          <a:solidFill>
            <a:schemeClr val="accent2"/>
          </a:solidFill>
        </p:grpSpPr>
        <p:sp>
          <p:nvSpPr>
            <p:cNvPr id="36" name="Freeform 17">
              <a:extLst>
                <a:ext uri="{FF2B5EF4-FFF2-40B4-BE49-F238E27FC236}">
                  <a16:creationId xmlns:a16="http://schemas.microsoft.com/office/drawing/2014/main" id="{C70EA11F-05E0-F15A-562F-A2A371748C05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7" name="Freeform 18">
              <a:extLst>
                <a:ext uri="{FF2B5EF4-FFF2-40B4-BE49-F238E27FC236}">
                  <a16:creationId xmlns:a16="http://schemas.microsoft.com/office/drawing/2014/main" id="{2B3D3077-9751-5027-8F4D-A2F88B37280D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8" name="Freeform 19">
              <a:extLst>
                <a:ext uri="{FF2B5EF4-FFF2-40B4-BE49-F238E27FC236}">
                  <a16:creationId xmlns:a16="http://schemas.microsoft.com/office/drawing/2014/main" id="{74C1A89A-AD22-7078-9127-F8209A75B4BD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39" name="Freeform 23">
            <a:extLst>
              <a:ext uri="{FF2B5EF4-FFF2-40B4-BE49-F238E27FC236}">
                <a16:creationId xmlns:a16="http://schemas.microsoft.com/office/drawing/2014/main" id="{7F4018A1-B0B5-1240-EAD5-708B36ED7146}"/>
              </a:ext>
            </a:extLst>
          </p:cNvPr>
          <p:cNvSpPr>
            <a:spLocks noEditPoints="1"/>
          </p:cNvSpPr>
          <p:nvPr/>
        </p:nvSpPr>
        <p:spPr bwMode="auto">
          <a:xfrm>
            <a:off x="6831283" y="3420971"/>
            <a:ext cx="727454" cy="644230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97F92E3E-B689-B897-8249-3AB4299F0B48}"/>
              </a:ext>
            </a:extLst>
          </p:cNvPr>
          <p:cNvGrpSpPr>
            <a:grpSpLocks noChangeAspect="1"/>
          </p:cNvGrpSpPr>
          <p:nvPr/>
        </p:nvGrpSpPr>
        <p:grpSpPr>
          <a:xfrm>
            <a:off x="6859145" y="1919099"/>
            <a:ext cx="671729" cy="639391"/>
            <a:chOff x="6719888" y="887413"/>
            <a:chExt cx="492125" cy="468312"/>
          </a:xfrm>
          <a:solidFill>
            <a:schemeClr val="accent2"/>
          </a:solidFill>
        </p:grpSpPr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5C44C737-CFE9-E55C-FB56-36EA7B9F54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6E9DF8E7-3C3F-7623-9026-88AA7C2938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3" name="Freeform 28">
              <a:extLst>
                <a:ext uri="{FF2B5EF4-FFF2-40B4-BE49-F238E27FC236}">
                  <a16:creationId xmlns:a16="http://schemas.microsoft.com/office/drawing/2014/main" id="{11134021-133E-8789-D8C0-CE02F095FD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4" name="Freeform 29">
              <a:extLst>
                <a:ext uri="{FF2B5EF4-FFF2-40B4-BE49-F238E27FC236}">
                  <a16:creationId xmlns:a16="http://schemas.microsoft.com/office/drawing/2014/main" id="{80CD4FB4-000E-4AE1-138D-63D4AC312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5" name="Freeform 30">
              <a:extLst>
                <a:ext uri="{FF2B5EF4-FFF2-40B4-BE49-F238E27FC236}">
                  <a16:creationId xmlns:a16="http://schemas.microsoft.com/office/drawing/2014/main" id="{462D3840-281A-4B5A-720F-31A01DD75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6" name="Freeform 31">
              <a:extLst>
                <a:ext uri="{FF2B5EF4-FFF2-40B4-BE49-F238E27FC236}">
                  <a16:creationId xmlns:a16="http://schemas.microsoft.com/office/drawing/2014/main" id="{2913FCAE-62E9-058A-218E-A7142EE9A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54199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7</TotalTime>
  <Words>212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Lato Light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33</cp:revision>
  <dcterms:created xsi:type="dcterms:W3CDTF">2021-03-31T02:49:57Z</dcterms:created>
  <dcterms:modified xsi:type="dcterms:W3CDTF">2025-10-15T08:40:31Z</dcterms:modified>
  <cp:category/>
</cp:coreProperties>
</file>